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2"/>
  </p:sldMasterIdLst>
  <p:notesMasterIdLst>
    <p:notesMasterId r:id="rId16"/>
  </p:notesMasterIdLst>
  <p:sldIdLst>
    <p:sldId id="2147473369" r:id="rId13"/>
    <p:sldId id="2147473370" r:id="rId14"/>
    <p:sldId id="2147473371" r:id="rId15"/>
  </p:sldIdLst>
  <p:sldSz cx="9144000" cy="5143500" type="screen16x9"/>
  <p:notesSz cx="6858000" cy="9144000"/>
  <p:embeddedFontLst>
    <p:embeddedFont>
      <p:font typeface="Exo" panose="020B0604020202020204" charset="0"/>
      <p:regular r:id="rId17"/>
      <p:bold r:id="rId18"/>
      <p:italic r:id="rId19"/>
      <p:boldItalic r:id="rId20"/>
    </p:embeddedFont>
    <p:embeddedFont>
      <p:font typeface="Playfair Display SemiBold" panose="020B0604020202020204" charset="0"/>
      <p:regular r:id="rId21"/>
      <p:bold r:id="rId22"/>
      <p:italic r:id="rId23"/>
      <p:boldItalic r:id="rId24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85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21" d="100"/>
          <a:sy n="121" d="100"/>
        </p:scale>
        <p:origin x="351" y="57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1.xml"/><Relationship Id="rId18" Type="http://schemas.openxmlformats.org/officeDocument/2006/relationships/font" Target="fonts/font2.fntdata"/><Relationship Id="rId85" Type="http://customschemas.google.com/relationships/presentationmetadata" Target="metadata"/><Relationship Id="rId3" Type="http://schemas.openxmlformats.org/officeDocument/2006/relationships/customXml" Target="../customXml/item3.xml"/><Relationship Id="rId21" Type="http://schemas.openxmlformats.org/officeDocument/2006/relationships/font" Target="fonts/font5.fntdata"/><Relationship Id="rId89" Type="http://schemas.openxmlformats.org/officeDocument/2006/relationships/tableStyles" Target="tableStyles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font" Target="fonts/font1.fntdata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88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font" Target="fonts/font8.fntdata"/><Relationship Id="rId87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3.xml"/><Relationship Id="rId23" Type="http://schemas.openxmlformats.org/officeDocument/2006/relationships/font" Target="fonts/font7.fntdata"/><Relationship Id="rId90" Type="http://schemas.microsoft.com/office/2018/10/relationships/authors" Target="authors.xml"/><Relationship Id="rId10" Type="http://schemas.openxmlformats.org/officeDocument/2006/relationships/customXml" Target="../customXml/item10.xml"/><Relationship Id="rId19" Type="http://schemas.openxmlformats.org/officeDocument/2006/relationships/font" Target="fonts/font3.fntdata"/><Relationship Id="rId86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2.xml"/><Relationship Id="rId22" Type="http://schemas.openxmlformats.org/officeDocument/2006/relationships/font" Target="fonts/font6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DBEEEB67-2E41-66EE-3119-CBFC3CB57B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87D6A615-3046-0EBE-B233-A06857C2A46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42083924-5AA7-F7DC-1123-432FD793690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530690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53D0A4ED-5720-277E-D86B-8A93E5D6E0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064B2F47-8884-45E6-9D58-5E46EB38ECA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75B9BA26-3225-EA03-E8AF-FE9FFA0576B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835067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97C02E44-69C1-7FED-26DC-309B9EDFCC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BC67E5CE-9CEE-137F-8266-6FBDA992334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A2776295-0E38-E02F-6409-41AE0B05C3A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844737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6" name="Google Shape;16;p3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enerated Slide 1_1_1_B">
  <p:cSld name="Generated Slide 1_1_1_B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2"/>
          <p:cNvSpPr>
            <a:spLocks noGrp="1"/>
          </p:cNvSpPr>
          <p:nvPr>
            <p:ph type="pic" idx="2"/>
          </p:nvPr>
        </p:nvSpPr>
        <p:spPr>
          <a:xfrm>
            <a:off x="4517136" y="475488"/>
            <a:ext cx="4188000" cy="4188000"/>
          </a:xfrm>
          <a:prstGeom prst="roundRect">
            <a:avLst>
              <a:gd name="adj" fmla="val 8475"/>
            </a:avLst>
          </a:prstGeom>
          <a:noFill/>
          <a:ln>
            <a:noFill/>
          </a:ln>
        </p:spPr>
      </p:sp>
      <p:sp>
        <p:nvSpPr>
          <p:cNvPr id="53" name="Google Shape;53;p42"/>
          <p:cNvSpPr txBox="1">
            <a:spLocks noGrp="1"/>
          </p:cNvSpPr>
          <p:nvPr>
            <p:ph type="title"/>
          </p:nvPr>
        </p:nvSpPr>
        <p:spPr>
          <a:xfrm>
            <a:off x="548650" y="576075"/>
            <a:ext cx="3556800" cy="8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2"/>
          <p:cNvSpPr txBox="1">
            <a:spLocks noGrp="1"/>
          </p:cNvSpPr>
          <p:nvPr>
            <p:ph type="body" idx="1"/>
          </p:nvPr>
        </p:nvSpPr>
        <p:spPr>
          <a:xfrm>
            <a:off x="438912" y="1655064"/>
            <a:ext cx="3666600" cy="287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55" name="Google Shape;55;p42"/>
          <p:cNvCxnSpPr/>
          <p:nvPr/>
        </p:nvCxnSpPr>
        <p:spPr>
          <a:xfrm>
            <a:off x="530352" y="4023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" name="Google Shape;56;p42"/>
          <p:cNvCxnSpPr/>
          <p:nvPr/>
        </p:nvCxnSpPr>
        <p:spPr>
          <a:xfrm>
            <a:off x="530352" y="47457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3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3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" name="Google Shape;31;p3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2" name="Google Shape;3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5" name="Google Shape;35;p3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3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38;p3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9" name="Google Shape;39;p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0" name="Google Shape;40;p3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3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3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0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47" name="Google Shape;47;p4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4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111557D-8B0C-00A1-6530-FFA39BC27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30306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69" imgH="469" progId="TCLayout.ActiveDocument.1">
                  <p:embed/>
                </p:oleObj>
              </mc:Choice>
              <mc:Fallback>
                <p:oleObj name="think-cell Slide" r:id="rId1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A4D34E46-79CB-D886-52DA-DF9435B21A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40DE2147-6D67-4766-2FC5-A2927F860DA4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19" name="Google Shape;319;g2ecbd9d9bc7_0_336">
            <a:extLst>
              <a:ext uri="{FF2B5EF4-FFF2-40B4-BE49-F238E27FC236}">
                <a16:creationId xmlns:a16="http://schemas.microsoft.com/office/drawing/2014/main" id="{E9F6DD5F-2CF8-0EC0-0667-218A6A43F33F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20B280F1-E8DE-BF7B-47C7-CF83D4201D4C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</a:t>
            </a:fld>
            <a:endParaRPr sz="1000" b="0" i="0" u="none" strike="noStrike" cap="none" dirty="0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3331CE89-549C-19BC-4FB5-1430144DDF70}"/>
              </a:ext>
            </a:extLst>
          </p:cNvPr>
          <p:cNvSpPr txBox="1"/>
          <p:nvPr/>
        </p:nvSpPr>
        <p:spPr>
          <a:xfrm>
            <a:off x="457199" y="499596"/>
            <a:ext cx="82848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Our approach</a:t>
            </a:r>
            <a:r>
              <a:rPr lang="en-US" sz="1800" b="0" i="0" u="none" strike="noStrike" cap="none" dirty="0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B70B407E-6593-3141-76F7-2491F2A2415F}"/>
              </a:ext>
            </a:extLst>
          </p:cNvPr>
          <p:cNvSpPr/>
          <p:nvPr/>
        </p:nvSpPr>
        <p:spPr>
          <a:xfrm>
            <a:off x="457199" y="1830044"/>
            <a:ext cx="2671609" cy="636385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latin typeface="Exo" panose="020B0604020202020204" charset="0"/>
                <a:cs typeface="Exo" panose="020B0604020202020204" charset="0"/>
              </a:rPr>
              <a:t>Secondary research</a:t>
            </a:r>
          </a:p>
        </p:txBody>
      </p:sp>
      <p:sp>
        <p:nvSpPr>
          <p:cNvPr id="3" name="Arrow: Chevron 2">
            <a:extLst>
              <a:ext uri="{FF2B5EF4-FFF2-40B4-BE49-F238E27FC236}">
                <a16:creationId xmlns:a16="http://schemas.microsoft.com/office/drawing/2014/main" id="{E189F885-6D29-6E5E-BC43-3C18227E81D4}"/>
              </a:ext>
            </a:extLst>
          </p:cNvPr>
          <p:cNvSpPr/>
          <p:nvPr/>
        </p:nvSpPr>
        <p:spPr>
          <a:xfrm>
            <a:off x="3313598" y="1830044"/>
            <a:ext cx="2671609" cy="636385"/>
          </a:xfrm>
          <a:prstGeom prst="chevr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latin typeface="Exo" panose="020B0604020202020204" charset="0"/>
                <a:cs typeface="Exo" panose="020B0604020202020204" charset="0"/>
              </a:rPr>
              <a:t>Primary research</a:t>
            </a:r>
          </a:p>
        </p:txBody>
      </p:sp>
      <p:sp>
        <p:nvSpPr>
          <p:cNvPr id="4" name="Arrow: Chevron 3">
            <a:extLst>
              <a:ext uri="{FF2B5EF4-FFF2-40B4-BE49-F238E27FC236}">
                <a16:creationId xmlns:a16="http://schemas.microsoft.com/office/drawing/2014/main" id="{E9477DC9-5B8A-7299-1CDD-2C3C7A9F7A59}"/>
              </a:ext>
            </a:extLst>
          </p:cNvPr>
          <p:cNvSpPr/>
          <p:nvPr/>
        </p:nvSpPr>
        <p:spPr>
          <a:xfrm>
            <a:off x="6169997" y="1830044"/>
            <a:ext cx="2671609" cy="636385"/>
          </a:xfrm>
          <a:prstGeom prst="chevr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latin typeface="Exo" panose="020B0604020202020204" charset="0"/>
                <a:cs typeface="Exo" panose="020B0604020202020204" charset="0"/>
              </a:rPr>
              <a:t>Synthesis and strategy development</a:t>
            </a:r>
          </a:p>
        </p:txBody>
      </p:sp>
    </p:spTree>
    <p:extLst>
      <p:ext uri="{BB962C8B-B14F-4D97-AF65-F5344CB8AC3E}">
        <p14:creationId xmlns:p14="http://schemas.microsoft.com/office/powerpoint/2010/main" val="3886677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E9B034A2-9F15-D7BC-C9B9-356AD5166A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150A5075-CACB-E40D-8DE5-4FC0D3B4109B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Page number</a:t>
            </a:r>
            <a:endParaRPr sz="1000" b="0" i="0" u="none" strike="noStrike" cap="none" dirty="0">
              <a:solidFill>
                <a:schemeClr val="tx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65E75431-D874-09EB-12F6-63F454328A66}"/>
              </a:ext>
            </a:extLst>
          </p:cNvPr>
          <p:cNvSpPr txBox="1"/>
          <p:nvPr/>
        </p:nvSpPr>
        <p:spPr>
          <a:xfrm>
            <a:off x="457199" y="499596"/>
            <a:ext cx="8284800" cy="30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tx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&lt;title&gt;</a:t>
            </a:r>
            <a:endParaRPr sz="1800" b="0" i="0" u="none" strike="noStrike" cap="none" dirty="0">
              <a:solidFill>
                <a:schemeClr val="tx1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931A522-5E2D-85F3-DBC5-DA64EEA3680E}"/>
              </a:ext>
            </a:extLst>
          </p:cNvPr>
          <p:cNvSpPr/>
          <p:nvPr/>
        </p:nvSpPr>
        <p:spPr>
          <a:xfrm>
            <a:off x="3063782" y="0"/>
            <a:ext cx="1716374" cy="80649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mantic representation – level 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3027732-813E-CAB1-5BB7-8105126274D7}"/>
              </a:ext>
            </a:extLst>
          </p:cNvPr>
          <p:cNvSpPr/>
          <p:nvPr/>
        </p:nvSpPr>
        <p:spPr>
          <a:xfrm>
            <a:off x="364273" y="1694985"/>
            <a:ext cx="8541834" cy="87676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Approach flowchart</a:t>
            </a:r>
          </a:p>
        </p:txBody>
      </p:sp>
      <p:sp>
        <p:nvSpPr>
          <p:cNvPr id="7" name="Google Shape;320;g2ecbd9d9bc7_0_336">
            <a:extLst>
              <a:ext uri="{FF2B5EF4-FFF2-40B4-BE49-F238E27FC236}">
                <a16:creationId xmlns:a16="http://schemas.microsoft.com/office/drawing/2014/main" id="{E9FD8680-E33F-6547-C00D-C75520D7E621}"/>
              </a:ext>
            </a:extLst>
          </p:cNvPr>
          <p:cNvSpPr txBox="1"/>
          <p:nvPr/>
        </p:nvSpPr>
        <p:spPr>
          <a:xfrm>
            <a:off x="8357407" y="4740899"/>
            <a:ext cx="548700" cy="17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Manifold logo</a:t>
            </a:r>
            <a:endParaRPr sz="1000" b="0" i="0" u="none" strike="noStrike" cap="none" dirty="0">
              <a:solidFill>
                <a:schemeClr val="tx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8" name="Google Shape;320;g2ecbd9d9bc7_0_336">
            <a:extLst>
              <a:ext uri="{FF2B5EF4-FFF2-40B4-BE49-F238E27FC236}">
                <a16:creationId xmlns:a16="http://schemas.microsoft.com/office/drawing/2014/main" id="{70A47215-5934-DC0F-734E-DA9CE90C3B64}"/>
              </a:ext>
            </a:extLst>
          </p:cNvPr>
          <p:cNvSpPr txBox="1"/>
          <p:nvPr/>
        </p:nvSpPr>
        <p:spPr>
          <a:xfrm>
            <a:off x="7386739" y="229248"/>
            <a:ext cx="1519368" cy="27034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600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Design element</a:t>
            </a:r>
            <a:endParaRPr sz="1600" b="0" i="0" u="none" strike="noStrike" cap="none" dirty="0">
              <a:solidFill>
                <a:schemeClr val="tx1"/>
              </a:solidFill>
              <a:latin typeface="Exo"/>
              <a:ea typeface="Exo"/>
              <a:cs typeface="Exo"/>
              <a:sym typeface="Exo"/>
            </a:endParaRPr>
          </a:p>
        </p:txBody>
      </p:sp>
    </p:spTree>
    <p:extLst>
      <p:ext uri="{BB962C8B-B14F-4D97-AF65-F5344CB8AC3E}">
        <p14:creationId xmlns:p14="http://schemas.microsoft.com/office/powerpoint/2010/main" val="30792557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A7910C71-57D7-8323-0C3D-17C194427A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F6FF0728-27F3-F784-6C67-90B69D085BF9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Page number</a:t>
            </a:r>
            <a:endParaRPr sz="1000" b="0" i="0" u="none" strike="noStrike" cap="none" dirty="0">
              <a:solidFill>
                <a:schemeClr val="bg1">
                  <a:lumMod val="85000"/>
                </a:schemeClr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EC4FC8E6-DCDF-00D2-3E52-02B80ED9E141}"/>
              </a:ext>
            </a:extLst>
          </p:cNvPr>
          <p:cNvSpPr txBox="1"/>
          <p:nvPr/>
        </p:nvSpPr>
        <p:spPr>
          <a:xfrm>
            <a:off x="457199" y="499596"/>
            <a:ext cx="8284800" cy="3069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&lt;title&gt;</a:t>
            </a:r>
            <a:endParaRPr sz="1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9651FC5-B414-FF0A-4751-685973B38DE2}"/>
              </a:ext>
            </a:extLst>
          </p:cNvPr>
          <p:cNvSpPr/>
          <p:nvPr/>
        </p:nvSpPr>
        <p:spPr>
          <a:xfrm>
            <a:off x="3063782" y="0"/>
            <a:ext cx="1716374" cy="80649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mantic representation – level 2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01F9371-3B15-FAF5-014D-216DD9695C07}"/>
              </a:ext>
            </a:extLst>
          </p:cNvPr>
          <p:cNvSpPr/>
          <p:nvPr/>
        </p:nvSpPr>
        <p:spPr>
          <a:xfrm>
            <a:off x="364273" y="1694985"/>
            <a:ext cx="8541834" cy="87676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Approach flowchart</a:t>
            </a:r>
          </a:p>
        </p:txBody>
      </p:sp>
      <p:sp>
        <p:nvSpPr>
          <p:cNvPr id="7" name="Google Shape;320;g2ecbd9d9bc7_0_336">
            <a:extLst>
              <a:ext uri="{FF2B5EF4-FFF2-40B4-BE49-F238E27FC236}">
                <a16:creationId xmlns:a16="http://schemas.microsoft.com/office/drawing/2014/main" id="{DDF87320-7DF3-36FB-0C24-E707CA180E34}"/>
              </a:ext>
            </a:extLst>
          </p:cNvPr>
          <p:cNvSpPr txBox="1"/>
          <p:nvPr/>
        </p:nvSpPr>
        <p:spPr>
          <a:xfrm>
            <a:off x="8357407" y="4740899"/>
            <a:ext cx="548700" cy="1740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Manifold logo</a:t>
            </a:r>
            <a:endParaRPr sz="1000" b="0" i="0" u="none" strike="noStrike" cap="none" dirty="0">
              <a:solidFill>
                <a:schemeClr val="bg1">
                  <a:lumMod val="85000"/>
                </a:schemeClr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8" name="Google Shape;320;g2ecbd9d9bc7_0_336">
            <a:extLst>
              <a:ext uri="{FF2B5EF4-FFF2-40B4-BE49-F238E27FC236}">
                <a16:creationId xmlns:a16="http://schemas.microsoft.com/office/drawing/2014/main" id="{E20C3C48-8E68-E6D8-60A0-D0CD9F388FF3}"/>
              </a:ext>
            </a:extLst>
          </p:cNvPr>
          <p:cNvSpPr txBox="1"/>
          <p:nvPr/>
        </p:nvSpPr>
        <p:spPr>
          <a:xfrm>
            <a:off x="7386739" y="229248"/>
            <a:ext cx="1519368" cy="27034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600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Design element</a:t>
            </a:r>
            <a:endParaRPr sz="1600" b="0" i="0" u="none" strike="noStrike" cap="none" dirty="0">
              <a:solidFill>
                <a:schemeClr val="bg1">
                  <a:lumMod val="85000"/>
                </a:schemeClr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2B78278-A0BD-A2A9-1811-2F727C2780B3}"/>
              </a:ext>
            </a:extLst>
          </p:cNvPr>
          <p:cNvSpPr/>
          <p:nvPr/>
        </p:nvSpPr>
        <p:spPr>
          <a:xfrm>
            <a:off x="516673" y="1847385"/>
            <a:ext cx="2322227" cy="47950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econdary research phase, chevr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28A2589-71AE-D206-846E-A16586B05A43}"/>
              </a:ext>
            </a:extLst>
          </p:cNvPr>
          <p:cNvSpPr/>
          <p:nvPr/>
        </p:nvSpPr>
        <p:spPr>
          <a:xfrm>
            <a:off x="3639016" y="1847385"/>
            <a:ext cx="2322226" cy="47950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rimary research phase, chevr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D2C0318-4C1D-1269-A947-4703383C167F}"/>
              </a:ext>
            </a:extLst>
          </p:cNvPr>
          <p:cNvSpPr/>
          <p:nvPr/>
        </p:nvSpPr>
        <p:spPr>
          <a:xfrm>
            <a:off x="6259551" y="1847385"/>
            <a:ext cx="2552685" cy="47950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ynthesis and strategy development phase, chevron</a:t>
            </a:r>
          </a:p>
        </p:txBody>
      </p:sp>
    </p:spTree>
    <p:extLst>
      <p:ext uri="{BB962C8B-B14F-4D97-AF65-F5344CB8AC3E}">
        <p14:creationId xmlns:p14="http://schemas.microsoft.com/office/powerpoint/2010/main" val="28564780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11.xml><?xml version="1.0" encoding="utf-8"?>
<ds:datastoreItem xmlns:ds="http://schemas.openxmlformats.org/officeDocument/2006/customXml" ds:itemID="{F6D26496-50D8-4851-9635-5AFD2D0E9536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6A80EC03-2957-4CA5-988D-9F7DF23904F8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B580167E-42FA-4569-A0F6-8B1DD49DDE20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5</TotalTime>
  <Words>61</Words>
  <Application>Microsoft Office PowerPoint</Application>
  <PresentationFormat>On-screen Show (16:9)</PresentationFormat>
  <Paragraphs>20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Exo</vt:lpstr>
      <vt:lpstr>Playfair Display SemiBold</vt:lpstr>
      <vt:lpstr>1_Simple Light</vt:lpstr>
      <vt:lpstr>think-cell Slid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37</cp:revision>
  <dcterms:modified xsi:type="dcterms:W3CDTF">2025-09-16T22:08:00Z</dcterms:modified>
</cp:coreProperties>
</file>